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Lst>
  <p:notesMasterIdLst>
    <p:notesMasterId r:id="rId50"/>
  </p:notesMasterIdLst>
  <p:handoutMasterIdLst>
    <p:handoutMasterId r:id="rId51"/>
  </p:handoutMasterIdLst>
  <p:sldIdLst>
    <p:sldId id="1543" r:id="rId5"/>
    <p:sldId id="1630" r:id="rId6"/>
    <p:sldId id="1595" r:id="rId7"/>
    <p:sldId id="1596" r:id="rId8"/>
    <p:sldId id="1545" r:id="rId9"/>
    <p:sldId id="1615" r:id="rId10"/>
    <p:sldId id="1511" r:id="rId11"/>
    <p:sldId id="1554" r:id="rId12"/>
    <p:sldId id="1593" r:id="rId13"/>
    <p:sldId id="1581" r:id="rId14"/>
    <p:sldId id="1425" r:id="rId15"/>
    <p:sldId id="1423" r:id="rId16"/>
    <p:sldId id="1538" r:id="rId17"/>
    <p:sldId id="1597" r:id="rId18"/>
    <p:sldId id="1598" r:id="rId19"/>
    <p:sldId id="1624" r:id="rId20"/>
    <p:sldId id="1616" r:id="rId21"/>
    <p:sldId id="1599" r:id="rId22"/>
    <p:sldId id="1600" r:id="rId23"/>
    <p:sldId id="1617" r:id="rId24"/>
    <p:sldId id="1587" r:id="rId25"/>
    <p:sldId id="1618" r:id="rId26"/>
    <p:sldId id="1613" r:id="rId27"/>
    <p:sldId id="1634" r:id="rId28"/>
    <p:sldId id="1635" r:id="rId29"/>
    <p:sldId id="1636" r:id="rId30"/>
    <p:sldId id="1637" r:id="rId31"/>
    <p:sldId id="1606" r:id="rId32"/>
    <p:sldId id="1628" r:id="rId33"/>
    <p:sldId id="1629" r:id="rId34"/>
    <p:sldId id="1614" r:id="rId35"/>
    <p:sldId id="1621" r:id="rId36"/>
    <p:sldId id="1608" r:id="rId37"/>
    <p:sldId id="1619" r:id="rId38"/>
    <p:sldId id="1620" r:id="rId39"/>
    <p:sldId id="1610" r:id="rId40"/>
    <p:sldId id="1625" r:id="rId41"/>
    <p:sldId id="1626" r:id="rId42"/>
    <p:sldId id="1627" r:id="rId43"/>
    <p:sldId id="1631" r:id="rId44"/>
    <p:sldId id="1603" r:id="rId45"/>
    <p:sldId id="1632" r:id="rId46"/>
    <p:sldId id="1602" r:id="rId47"/>
    <p:sldId id="1579" r:id="rId48"/>
    <p:sldId id="1633" r:id="rId49"/>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34"/>
            <p14:sldId id="1635"/>
            <p14:sldId id="1636"/>
            <p14:sldId id="1637"/>
            <p14:sldId id="1606"/>
            <p14:sldId id="1628"/>
            <p14:sldId id="1629"/>
            <p14:sldId id="1614"/>
            <p14:sldId id="1621"/>
            <p14:sldId id="1608"/>
            <p14:sldId id="1619"/>
            <p14:sldId id="1620"/>
            <p14:sldId id="1610"/>
            <p14:sldId id="1625"/>
            <p14:sldId id="1626"/>
            <p14:sldId id="1627"/>
            <p14:sldId id="1631"/>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varScale="1">
        <p:scale>
          <a:sx n="80" d="100"/>
          <a:sy n="80" d="100"/>
        </p:scale>
        <p:origin x="344" y="52"/>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5/20/2015 6:02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5/20/2015 6:02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5/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4</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8</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5/20/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5/20/2015 6:0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5/20/2015 6:0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5/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5/20/2015 6:0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5/20/2015 6:0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5/20/2015 6:0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5/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2.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2.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3.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6.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a:t>
            </a:r>
            <a:r>
              <a:rPr lang="en-US" sz="2800" dirty="0">
                <a:latin typeface="Segoe UI (Body)"/>
              </a:rPr>
              <a:t>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0</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277594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639</Words>
  <Application>Microsoft Office PowerPoint</Application>
  <PresentationFormat>Custom</PresentationFormat>
  <Paragraphs>624</Paragraphs>
  <Slides>45</Slides>
  <Notes>29</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5</vt:i4>
      </vt:variant>
    </vt:vector>
  </HeadingPairs>
  <TitlesOfParts>
    <vt:vector size="55" baseType="lpstr">
      <vt:lpstr>Meiryo</vt:lpstr>
      <vt:lpstr>MS PGothic</vt:lpstr>
      <vt:lpstr>Arial</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5-20T10:1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